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97" r:id="rId2"/>
    <p:sldId id="474" r:id="rId3"/>
    <p:sldId id="395" r:id="rId4"/>
    <p:sldId id="400" r:id="rId5"/>
    <p:sldId id="476" r:id="rId6"/>
    <p:sldId id="458" r:id="rId7"/>
    <p:sldId id="460" r:id="rId8"/>
    <p:sldId id="473" r:id="rId9"/>
  </p:sldIdLst>
  <p:sldSz cx="9906000" cy="6858000" type="A4"/>
  <p:notesSz cx="6735763" cy="98663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orient="horz" pos="663" userDrawn="1">
          <p15:clr>
            <a:srgbClr val="A4A3A4"/>
          </p15:clr>
        </p15:guide>
        <p15:guide id="3" orient="horz" pos="278" userDrawn="1">
          <p15:clr>
            <a:srgbClr val="A4A3A4"/>
          </p15:clr>
        </p15:guide>
        <p15:guide id="4" orient="horz" pos="3873">
          <p15:clr>
            <a:srgbClr val="A4A3A4"/>
          </p15:clr>
        </p15:guide>
        <p15:guide id="5" pos="4776" userDrawn="1">
          <p15:clr>
            <a:srgbClr val="A4A3A4"/>
          </p15:clr>
        </p15:guide>
        <p15:guide id="6" pos="5932" userDrawn="1">
          <p15:clr>
            <a:srgbClr val="A4A3A4"/>
          </p15:clr>
        </p15:guide>
        <p15:guide id="7" orient="horz" pos="1117" userDrawn="1">
          <p15:clr>
            <a:srgbClr val="A4A3A4"/>
          </p15:clr>
        </p15:guide>
        <p15:guide id="8" orient="horz" pos="1184">
          <p15:clr>
            <a:srgbClr val="A4A3A4"/>
          </p15:clr>
        </p15:guide>
        <p15:guide id="9" pos="284">
          <p15:clr>
            <a:srgbClr val="A4A3A4"/>
          </p15:clr>
        </p15:guide>
        <p15:guide id="10" pos="5956">
          <p15:clr>
            <a:srgbClr val="A4A3A4"/>
          </p15:clr>
        </p15:guide>
        <p15:guide id="11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rbl Gerald" initials="Ke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FE78"/>
    <a:srgbClr val="D9D9D9"/>
    <a:srgbClr val="005233"/>
    <a:srgbClr val="008653"/>
    <a:srgbClr val="FCE4DC"/>
    <a:srgbClr val="B0B1B3"/>
    <a:srgbClr val="E48430"/>
    <a:srgbClr val="5E8A2F"/>
    <a:srgbClr val="878787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6" autoAdjust="0"/>
    <p:restoredTop sz="93913" autoAdjust="0"/>
  </p:normalViewPr>
  <p:slideViewPr>
    <p:cSldViewPr snapToGrid="0" snapToObjects="1" showGuides="1">
      <p:cViewPr varScale="1">
        <p:scale>
          <a:sx n="78" d="100"/>
          <a:sy n="78" d="100"/>
        </p:scale>
        <p:origin x="1426" y="62"/>
      </p:cViewPr>
      <p:guideLst>
        <p:guide orient="horz" pos="4088"/>
        <p:guide orient="horz" pos="663"/>
        <p:guide orient="horz" pos="278"/>
        <p:guide orient="horz" pos="3873"/>
        <p:guide pos="4776"/>
        <p:guide pos="5932"/>
        <p:guide orient="horz" pos="1117"/>
        <p:guide orient="horz" pos="1184"/>
        <p:guide pos="284"/>
        <p:guide pos="5956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2" d="100"/>
          <a:sy n="92" d="100"/>
        </p:scale>
        <p:origin x="3684" y="78"/>
      </p:cViewPr>
      <p:guideLst>
        <p:guide orient="horz" pos="3108"/>
        <p:guide pos="212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6003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r">
              <a:defRPr sz="1200"/>
            </a:lvl1pPr>
          </a:lstStyle>
          <a:p>
            <a:fld id="{EDC803A9-6A1C-41BF-ADBB-09E8537D150F}" type="datetimeFigureOut">
              <a:rPr lang="de-DE" smtClean="0"/>
              <a:t>10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6003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r">
              <a:defRPr sz="1200"/>
            </a:lvl1pPr>
          </a:lstStyle>
          <a:p>
            <a:fld id="{34B58DC0-2B2E-4737-B7CE-BDDA1067047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7411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r">
              <a:defRPr sz="1300"/>
            </a:lvl1pPr>
          </a:lstStyle>
          <a:p>
            <a:fld id="{D416FB07-7EA2-4977-AA8F-9F3A261103E5}" type="datetimeFigureOut">
              <a:rPr lang="en-GB" smtClean="0"/>
              <a:pPr/>
              <a:t>10/06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7" tIns="47429" rIns="94857" bIns="47429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4857" tIns="47429" rIns="94857" bIns="47429" rtlCol="0"/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r">
              <a:defRPr sz="1300"/>
            </a:lvl1pPr>
          </a:lstStyle>
          <a:p>
            <a:fld id="{892B63B7-61B4-4839-9531-878321E0A46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0249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864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1850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8525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2"/>
          <p:cNvSpPr txBox="1">
            <a:spLocks/>
          </p:cNvSpPr>
          <p:nvPr userDrawn="1"/>
        </p:nvSpPr>
        <p:spPr>
          <a:xfrm>
            <a:off x="446635" y="6631812"/>
            <a:ext cx="9089027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000" spc="60" noProof="0" dirty="0">
                <a:solidFill>
                  <a:srgbClr val="9FA1A4"/>
                </a:solidFill>
              </a:rPr>
              <a:t>Alban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Austr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Bulgar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Croat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Czech Republic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Hungary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Poland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Romania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erb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lovakia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lovenia</a:t>
            </a:r>
          </a:p>
        </p:txBody>
      </p:sp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668338" y="1299696"/>
            <a:ext cx="8420100" cy="369332"/>
          </a:xfrm>
        </p:spPr>
        <p:txBody>
          <a:bodyPr anchor="b"/>
          <a:lstStyle>
            <a:lvl1pPr algn="l">
              <a:defRPr sz="2400" b="1">
                <a:solidFill>
                  <a:srgbClr val="58595B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68338" y="1748624"/>
            <a:ext cx="6934200" cy="24622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lang="de-DE" sz="1600" b="0" kern="1200" baseline="0" dirty="0">
                <a:solidFill>
                  <a:srgbClr val="5E8A2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Lecturer</a:t>
            </a:r>
          </a:p>
        </p:txBody>
      </p:sp>
      <p:sp>
        <p:nvSpPr>
          <p:cNvPr id="22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668338" y="2286620"/>
            <a:ext cx="2538413" cy="184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936" y="336761"/>
            <a:ext cx="1224000" cy="102518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3122922"/>
            <a:ext cx="9906000" cy="333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057607" y="2303677"/>
            <a:ext cx="4032250" cy="3108543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 b="1">
                <a:solidFill>
                  <a:srgbClr val="9FA1A4"/>
                </a:solidFill>
              </a:defRPr>
            </a:lvl1pPr>
          </a:lstStyle>
          <a:p>
            <a:pPr lvl="0"/>
            <a:r>
              <a:rPr lang="en-US" noProof="0" dirty="0"/>
              <a:t>Headline 1</a:t>
            </a:r>
          </a:p>
          <a:p>
            <a:pPr lvl="0"/>
            <a:r>
              <a:rPr lang="en-US" noProof="0" dirty="0"/>
              <a:t>Headline 2</a:t>
            </a:r>
          </a:p>
          <a:p>
            <a:pPr lvl="0"/>
            <a:r>
              <a:rPr lang="en-US" noProof="0" dirty="0"/>
              <a:t>Headline 3</a:t>
            </a:r>
          </a:p>
          <a:p>
            <a:pPr lvl="0"/>
            <a:r>
              <a:rPr lang="en-US" noProof="0" dirty="0"/>
              <a:t>Headline 4</a:t>
            </a:r>
          </a:p>
          <a:p>
            <a:pPr lvl="0"/>
            <a:r>
              <a:rPr lang="en-US" noProof="0" dirty="0"/>
              <a:t>Headline 5</a:t>
            </a:r>
          </a:p>
          <a:p>
            <a:pPr lvl="0"/>
            <a:r>
              <a:rPr lang="en-US" noProof="0" dirty="0"/>
              <a:t>Headline 6</a:t>
            </a:r>
          </a:p>
          <a:p>
            <a:pPr lvl="0"/>
            <a:r>
              <a:rPr lang="en-US" noProof="0" dirty="0"/>
              <a:t>Headline 7</a:t>
            </a:r>
          </a:p>
          <a:p>
            <a:pPr lvl="0"/>
            <a:r>
              <a:rPr lang="en-US" noProof="0" dirty="0"/>
              <a:t>Headline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52437" y="775894"/>
            <a:ext cx="724259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270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1508663"/>
            <a:ext cx="9001125" cy="215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53599" y="1879200"/>
            <a:ext cx="9000000" cy="7232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16638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576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562282"/>
            <a:ext cx="9906000" cy="2154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9200" y="4823012"/>
            <a:ext cx="9001126" cy="430887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47675" indent="0">
              <a:defRPr lang="de-AT" sz="2800" b="0" dirty="0"/>
            </a:lvl1pPr>
          </a:lstStyle>
          <a:p>
            <a:pPr lvl="0"/>
            <a:r>
              <a:rPr lang="en-US" noProof="0" dirty="0"/>
              <a:t>Heading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1564929"/>
            <a:ext cx="9906000" cy="0"/>
          </a:xfrm>
          <a:prstGeom prst="line">
            <a:avLst/>
          </a:prstGeom>
          <a:ln w="3810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4521593"/>
            <a:ext cx="9906000" cy="0"/>
          </a:xfrm>
          <a:prstGeom prst="line">
            <a:avLst/>
          </a:prstGeom>
          <a:ln w="3810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1933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977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446400" y="1692000"/>
            <a:ext cx="1580400" cy="1270800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46400" y="3128293"/>
            <a:ext cx="2666077" cy="215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400" b="1" kern="1200" dirty="0" smtClean="0">
                <a:solidFill>
                  <a:srgbClr val="00523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First Name Last Nam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446400" y="3371264"/>
            <a:ext cx="2666077" cy="184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200" kern="1200" baseline="0" dirty="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z="1200" noProof="0" dirty="0">
                <a:solidFill>
                  <a:srgbClr val="58595B"/>
                </a:solidFill>
                <a:cs typeface="+mn-cs"/>
              </a:rPr>
              <a:t>Tax</a:t>
            </a:r>
            <a:r>
              <a:rPr lang="de-DE" sz="1200" dirty="0">
                <a:solidFill>
                  <a:srgbClr val="58595B"/>
                </a:solidFill>
                <a:cs typeface="+mn-cs"/>
              </a:rPr>
              <a:t> </a:t>
            </a:r>
            <a:r>
              <a:rPr lang="en-US" sz="1200" noProof="0" dirty="0">
                <a:solidFill>
                  <a:srgbClr val="58595B"/>
                </a:solidFill>
                <a:cs typeface="+mn-cs"/>
              </a:rPr>
              <a:t>Advisor</a:t>
            </a:r>
            <a:r>
              <a:rPr lang="de-AT" sz="1200" dirty="0">
                <a:solidFill>
                  <a:srgbClr val="58595B"/>
                </a:solidFill>
                <a:cs typeface="Arial" charset="0"/>
              </a:rPr>
              <a:t> |</a:t>
            </a:r>
            <a:r>
              <a:rPr lang="de-DE" dirty="0"/>
              <a:t> Partner</a:t>
            </a:r>
          </a:p>
        </p:txBody>
      </p:sp>
      <p:sp>
        <p:nvSpPr>
          <p:cNvPr id="56" name="Textplatzhalter 55"/>
          <p:cNvSpPr>
            <a:spLocks noGrp="1"/>
          </p:cNvSpPr>
          <p:nvPr>
            <p:ph type="body" sz="quarter" idx="33" hasCustomPrompt="1"/>
          </p:nvPr>
        </p:nvSpPr>
        <p:spPr>
          <a:xfrm>
            <a:off x="447923" y="4013206"/>
            <a:ext cx="2549525" cy="18466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b="1" dirty="0">
                <a:solidFill>
                  <a:srgbClr val="000000"/>
                </a:solidFill>
              </a:rPr>
              <a:t>F:</a:t>
            </a:r>
            <a:r>
              <a:rPr lang="de-DE" sz="1200" dirty="0">
                <a:solidFill>
                  <a:srgbClr val="000000"/>
                </a:solidFill>
              </a:rPr>
              <a:t> +40 (1) 3100668</a:t>
            </a:r>
          </a:p>
        </p:txBody>
      </p:sp>
      <p:sp>
        <p:nvSpPr>
          <p:cNvPr id="58" name="Textplatzhalter 57"/>
          <p:cNvSpPr>
            <a:spLocks noGrp="1"/>
          </p:cNvSpPr>
          <p:nvPr>
            <p:ph type="body" sz="quarter" idx="34" hasCustomPrompt="1"/>
          </p:nvPr>
        </p:nvSpPr>
        <p:spPr>
          <a:xfrm>
            <a:off x="430213" y="4448382"/>
            <a:ext cx="3357875" cy="18466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buClr>
                <a:schemeClr val="tx1"/>
              </a:buClr>
              <a:buSzPct val="120000"/>
              <a:buFont typeface="Wingdings" pitchFamily="2" charset="2"/>
              <a:buNone/>
              <a:defRPr lang="de-DE" sz="1200" u="sng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z="1200" u="sng" noProof="0" dirty="0">
                <a:solidFill>
                  <a:schemeClr val="tx1"/>
                </a:solidFill>
              </a:rPr>
              <a:t>firstname.lastname@tpa-group.ro</a:t>
            </a:r>
            <a:endParaRPr lang="en-US" noProof="0" dirty="0"/>
          </a:p>
        </p:txBody>
      </p:sp>
      <p:sp>
        <p:nvSpPr>
          <p:cNvPr id="59" name="Textplatzhalter 55"/>
          <p:cNvSpPr>
            <a:spLocks noGrp="1"/>
          </p:cNvSpPr>
          <p:nvPr>
            <p:ph type="body" sz="quarter" idx="35" hasCustomPrompt="1"/>
          </p:nvPr>
        </p:nvSpPr>
        <p:spPr>
          <a:xfrm>
            <a:off x="446400" y="3806441"/>
            <a:ext cx="2549525" cy="18466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b="1" dirty="0">
                <a:solidFill>
                  <a:srgbClr val="000000"/>
                </a:solidFill>
              </a:rPr>
              <a:t>T:</a:t>
            </a:r>
            <a:r>
              <a:rPr lang="de-DE" sz="1200" dirty="0">
                <a:solidFill>
                  <a:srgbClr val="000000"/>
                </a:solidFill>
              </a:rPr>
              <a:t> +40 (1) 3100669</a:t>
            </a:r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36" hasCustomPrompt="1"/>
          </p:nvPr>
        </p:nvSpPr>
        <p:spPr>
          <a:xfrm>
            <a:off x="429758" y="4683020"/>
            <a:ext cx="2422525" cy="407804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buClr>
                <a:schemeClr val="tx1"/>
              </a:buClr>
              <a:buSzPct val="120000"/>
              <a:buFont typeface="Wingdings" pitchFamily="2" charset="2"/>
              <a:buNone/>
              <a:defRPr lang="de-DE" sz="1200" u="sng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de-DE" dirty="0"/>
              <a:t>www.tpa-group.ro</a:t>
            </a:r>
          </a:p>
          <a:p>
            <a:pPr lvl="0"/>
            <a:r>
              <a:rPr lang="de-DE" dirty="0"/>
              <a:t>www.tpa-group.com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3503847" y="1698711"/>
            <a:ext cx="4335083" cy="1754326"/>
          </a:xfrm>
        </p:spPr>
        <p:txBody>
          <a:bodyPr/>
          <a:lstStyle>
            <a:lvl1pPr>
              <a:spcBef>
                <a:spcPts val="600"/>
              </a:spcBef>
              <a:defRPr sz="1200"/>
            </a:lvl1pPr>
            <a:lvl2pPr>
              <a:spcBef>
                <a:spcPts val="600"/>
              </a:spcBef>
              <a:defRPr sz="1200"/>
            </a:lvl2pPr>
          </a:lstStyle>
          <a:p>
            <a:pPr lvl="0"/>
            <a:r>
              <a:rPr lang="en-US" noProof="0" dirty="0"/>
              <a:t>xx</a:t>
            </a:r>
          </a:p>
          <a:p>
            <a:pPr lvl="0"/>
            <a:r>
              <a:rPr lang="en-US" noProof="0" dirty="0"/>
              <a:t>xx</a:t>
            </a:r>
          </a:p>
          <a:p>
            <a:pPr lvl="0"/>
            <a:r>
              <a:rPr lang="en-US" noProof="0" dirty="0"/>
              <a:t>xx</a:t>
            </a:r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Services and Areas of Expertise :</a:t>
            </a:r>
          </a:p>
          <a:p>
            <a:pPr lvl="1"/>
            <a:r>
              <a:rPr lang="en-US" noProof="0" dirty="0"/>
              <a:t>xx</a:t>
            </a:r>
          </a:p>
          <a:p>
            <a:pPr lvl="1"/>
            <a:r>
              <a:rPr lang="en-US" noProof="0" dirty="0"/>
              <a:t>xx</a:t>
            </a:r>
          </a:p>
        </p:txBody>
      </p:sp>
      <p:sp>
        <p:nvSpPr>
          <p:cNvPr id="93" name="Titel 2"/>
          <p:cNvSpPr>
            <a:spLocks noGrp="1"/>
          </p:cNvSpPr>
          <p:nvPr>
            <p:ph type="title" hasCustomPrompt="1"/>
          </p:nvPr>
        </p:nvSpPr>
        <p:spPr>
          <a:xfrm>
            <a:off x="452437" y="775894"/>
            <a:ext cx="7242590" cy="307777"/>
          </a:xfrm>
        </p:spPr>
        <p:txBody>
          <a:bodyPr/>
          <a:lstStyle/>
          <a:p>
            <a:r>
              <a:rPr lang="en-US" dirty="0"/>
              <a:t>Get into contact with TPA:</a:t>
            </a:r>
          </a:p>
        </p:txBody>
      </p:sp>
    </p:spTree>
    <p:extLst>
      <p:ext uri="{BB962C8B-B14F-4D97-AF65-F5344CB8AC3E}">
        <p14:creationId xmlns:p14="http://schemas.microsoft.com/office/powerpoint/2010/main" val="2764733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062F6-F2B2-40BA-9648-22A2833A4392}" type="datetimeFigureOut">
              <a:rPr lang="de-DE" smtClean="0"/>
              <a:t>10.06.2018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2403A-ED5C-4B23-8F65-1CF3F77AD3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4291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hyperlink" Target="http://www.tpa-horwath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8990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1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0266" y="6663653"/>
            <a:ext cx="85329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de-DE" sz="800" kern="1200" dirty="0" smtClean="0">
                <a:solidFill>
                  <a:srgbClr val="58585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age </a:t>
            </a:r>
            <a:fld id="{E2BCF22A-5E8C-4B2F-8CEC-D31B789CDA14}" type="slidenum">
              <a:rPr smtClean="0"/>
              <a:pPr/>
              <a:t>‹#›</a:t>
            </a:fld>
            <a:endParaRPr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46635" y="6592416"/>
            <a:ext cx="9006928" cy="0"/>
          </a:xfrm>
          <a:prstGeom prst="line">
            <a:avLst/>
          </a:prstGeom>
          <a:ln w="635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hlinkClick r:id="rId12"/>
          </p:cNvPr>
          <p:cNvSpPr/>
          <p:nvPr userDrawn="1"/>
        </p:nvSpPr>
        <p:spPr>
          <a:xfrm>
            <a:off x="446635" y="6341385"/>
            <a:ext cx="1206516" cy="2201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en-GB" sz="1400" dirty="0" err="1">
              <a:solidFill>
                <a:schemeClr val="tx2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2888" y="347647"/>
            <a:ext cx="864000" cy="72366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3599" y="1879200"/>
            <a:ext cx="9000000" cy="7232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446635" y="6663653"/>
            <a:ext cx="812723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chemeClr val="tx1"/>
                </a:solidFill>
              </a:rPr>
              <a:t>www.tpa-group.ro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13457" y="6663652"/>
            <a:ext cx="944169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rgbClr val="58585A"/>
                </a:solidFill>
              </a:rPr>
              <a:t>www.tpa-group.com</a:t>
            </a:r>
          </a:p>
        </p:txBody>
      </p:sp>
    </p:spTree>
    <p:extLst>
      <p:ext uri="{BB962C8B-B14F-4D97-AF65-F5344CB8AC3E}">
        <p14:creationId xmlns:p14="http://schemas.microsoft.com/office/powerpoint/2010/main" val="400247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6" r:id="rId2"/>
    <p:sldLayoutId id="2147483650" r:id="rId3"/>
    <p:sldLayoutId id="2147483652" r:id="rId4"/>
    <p:sldLayoutId id="2147483651" r:id="rId5"/>
    <p:sldLayoutId id="2147483662" r:id="rId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5233"/>
          </a:solidFill>
          <a:latin typeface="+mn-lt"/>
          <a:ea typeface="+mj-ea"/>
          <a:cs typeface="+mj-cs"/>
        </a:defRPr>
      </a:lvl1pPr>
    </p:titleStyle>
    <p:bodyStyle>
      <a:lvl1pPr marL="207963" indent="-207963" algn="l" defTabSz="914400" rtl="0" eaLnBrk="1" latinLnBrk="0" hangingPunct="1">
        <a:spcBef>
          <a:spcPts val="300"/>
        </a:spcBef>
        <a:buClr>
          <a:srgbClr val="878787"/>
        </a:buClr>
        <a:buFont typeface="Webdings" panose="05030102010509060703" pitchFamily="18" charset="2"/>
        <a:buChar char="&lt;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357188" indent="-149225" algn="l" defTabSz="914400" rtl="0" eaLnBrk="1" latinLnBrk="0" hangingPunct="1">
        <a:spcBef>
          <a:spcPts val="300"/>
        </a:spcBef>
        <a:buClr>
          <a:srgbClr val="878787"/>
        </a:buClr>
        <a:buSzPct val="100000"/>
        <a:buFont typeface="Symbol" panose="05050102010706020507" pitchFamily="18" charset="2"/>
        <a:buChar char="·"/>
        <a:defRPr lang="en-US" sz="14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spcBef>
          <a:spcPts val="300"/>
        </a:spcBef>
        <a:buClr>
          <a:srgbClr val="878787"/>
        </a:buClr>
        <a:buFont typeface="Georgia" panose="02040502050405020303" pitchFamily="18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504000" indent="-144000" algn="l" defTabSz="914400" rtl="0" eaLnBrk="1" latinLnBrk="0" hangingPunct="1">
        <a:spcBef>
          <a:spcPts val="300"/>
        </a:spcBef>
        <a:buClr>
          <a:srgbClr val="878787"/>
        </a:buClr>
        <a:buFont typeface="Courier New" panose="02070309020205020404" pitchFamily="49" charset="0"/>
        <a:buChar char="-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714375" indent="-207963" algn="l" defTabSz="914400" rtl="0" eaLnBrk="1" latinLnBrk="0" hangingPunct="1">
        <a:spcBef>
          <a:spcPts val="300"/>
        </a:spcBef>
        <a:buClr>
          <a:schemeClr val="accent1"/>
        </a:buClr>
        <a:buFont typeface="Verdana" panose="020B0604030504040204" pitchFamily="34" charset="0"/>
        <a:buChar char="−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839788" indent="-12541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4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pa-group.ro/" TargetMode="Externa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8338" y="807254"/>
            <a:ext cx="7108978" cy="861774"/>
          </a:xfrm>
        </p:spPr>
        <p:txBody>
          <a:bodyPr/>
          <a:lstStyle/>
          <a:p>
            <a:r>
              <a:rPr lang="en-US" sz="2800" dirty="0"/>
              <a:t>Main Impediments for a Successful Absorption of EU-Funds</a:t>
            </a:r>
            <a:r>
              <a:rPr lang="de-DE" sz="2800" dirty="0"/>
              <a:t> </a:t>
            </a:r>
            <a:endParaRPr lang="en-GB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68338" y="1793157"/>
            <a:ext cx="6934200" cy="307777"/>
          </a:xfrm>
        </p:spPr>
        <p:txBody>
          <a:bodyPr/>
          <a:lstStyle/>
          <a:p>
            <a:r>
              <a:rPr lang="de-DE" sz="2000" dirty="0"/>
              <a:t>Johannes Becker</a:t>
            </a:r>
            <a:endParaRPr lang="en-GB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68338" y="2532841"/>
            <a:ext cx="2538413" cy="246221"/>
          </a:xfrm>
        </p:spPr>
        <p:txBody>
          <a:bodyPr/>
          <a:lstStyle/>
          <a:p>
            <a:r>
              <a:rPr lang="de-DE" sz="1600" dirty="0"/>
              <a:t>Bucharest</a:t>
            </a:r>
            <a:r>
              <a:rPr lang="de-DE" sz="1600"/>
              <a:t>, 12.6.2018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576835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021852" y="1829600"/>
            <a:ext cx="8136295" cy="4154984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Two thirds </a:t>
            </a:r>
            <a:r>
              <a:rPr lang="de-AT" altLang="de-DE" sz="2000" b="0" dirty="0">
                <a:solidFill>
                  <a:schemeClr val="tx1"/>
                </a:solidFill>
                <a:cs typeface="Estrangelo Edessa" pitchFamily="66" charset="0"/>
              </a:rPr>
              <a:t>of the period </a:t>
            </a:r>
            <a:r>
              <a:rPr lang="ro-RO" altLang="de-DE" sz="2000" b="0" dirty="0">
                <a:solidFill>
                  <a:schemeClr val="tx1"/>
                </a:solidFill>
                <a:cs typeface="Estrangelo Edessa" pitchFamily="66" charset="0"/>
              </a:rPr>
              <a:t>2014 – </a:t>
            </a:r>
            <a:r>
              <a:rPr lang="ro-RO" altLang="de-DE" sz="2000" b="0">
                <a:solidFill>
                  <a:schemeClr val="tx1"/>
                </a:solidFill>
                <a:cs typeface="Estrangelo Edessa" pitchFamily="66" charset="0"/>
              </a:rPr>
              <a:t>2020</a:t>
            </a: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 have </a:t>
            </a:r>
            <a:r>
              <a:rPr lang="de-AT" altLang="de-DE" sz="2000" b="0" dirty="0">
                <a:solidFill>
                  <a:schemeClr val="tx1"/>
                </a:solidFill>
                <a:cs typeface="Estrangelo Edessa" pitchFamily="66" charset="0"/>
              </a:rPr>
              <a:t>passed</a:t>
            </a:r>
            <a:r>
              <a:rPr lang="en-US" altLang="de-DE" sz="2000" b="0" dirty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de-DE" altLang="de-DE" sz="2000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 dirty="0">
                <a:solidFill>
                  <a:schemeClr val="tx1"/>
                </a:solidFill>
                <a:cs typeface="Estrangelo Edessa" pitchFamily="66" charset="0"/>
              </a:rPr>
              <a:t>Absorption of </a:t>
            </a: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EU-Funds extremely low:</a:t>
            </a:r>
          </a:p>
          <a:p>
            <a:pPr lvl="1" algn="just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>
                <a:solidFill>
                  <a:schemeClr val="tx1"/>
                </a:solidFill>
                <a:cs typeface="Estrangelo Edessa" pitchFamily="66" charset="0"/>
              </a:rPr>
              <a:t> 4,91% without Rural Development</a:t>
            </a:r>
          </a:p>
          <a:p>
            <a:pPr lvl="1" algn="just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>
                <a:solidFill>
                  <a:schemeClr val="tx1"/>
                </a:solidFill>
                <a:cs typeface="Estrangelo Edessa" pitchFamily="66" charset="0"/>
              </a:rPr>
              <a:t> 10,07% including Rural Development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</a:rPr>
              <a:t>Biggest problems to be found in programs for Human Capital and Regional Development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</a:rPr>
              <a:t>Romania risks to definitely lose about 3 bn Euro EU-Funds in 2018;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</a:rPr>
              <a:t>Highest number of fraud investigations related to EU-Funds;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</a:rPr>
              <a:t>National State Aid programs for funding of projects were stopped in early 2017;</a:t>
            </a:r>
            <a:endParaRPr lang="ro-RO" altLang="de-DE" sz="2000" b="0" dirty="0">
              <a:solidFill>
                <a:schemeClr val="tx1"/>
              </a:solidFill>
              <a:cs typeface="Estrangelo Edessa" pitchFamily="66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 dirty="0"/>
              <a:t>Situation today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462581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110342" y="1977084"/>
            <a:ext cx="8136295" cy="4385816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Lack of political will, delayed decisions</a:t>
            </a:r>
            <a:r>
              <a:rPr lang="en-US" altLang="de-DE" sz="2000" b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de-DE" altLang="de-DE" sz="2000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Instability;</a:t>
            </a:r>
            <a:endParaRPr lang="de-AT" altLang="de-DE" sz="2000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Conflicts between authoritie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Legislative changes that obstruct EU-funded project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Needlessly complicated procedure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Technical resasons, such as: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MySMI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Management Authoritie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Ex-ante condition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GB" altLang="de-DE" sz="1800">
                <a:solidFill>
                  <a:schemeClr val="tx1"/>
                </a:solidFill>
                <a:cs typeface="Estrangelo Edessa" pitchFamily="66" charset="0"/>
              </a:rPr>
              <a:t> Reallocation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GB" altLang="de-DE" sz="1800" b="0">
                <a:solidFill>
                  <a:schemeClr val="tx1"/>
                </a:solidFill>
                <a:cs typeface="Estrangelo Edessa" pitchFamily="66" charset="0"/>
              </a:rPr>
              <a:t> etc.</a:t>
            </a:r>
            <a:endParaRPr lang="ro-RO" altLang="de-DE" sz="1800" b="0" dirty="0">
              <a:solidFill>
                <a:schemeClr val="tx1"/>
              </a:solidFill>
              <a:cs typeface="Estrangelo Edessa" pitchFamily="66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Main reason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142443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97F0DAF-3343-4097-B099-60C5DEF75833}"/>
              </a:ext>
            </a:extLst>
          </p:cNvPr>
          <p:cNvSpPr/>
          <p:nvPr/>
        </p:nvSpPr>
        <p:spPr>
          <a:xfrm>
            <a:off x="943897" y="1699054"/>
            <a:ext cx="8101780" cy="4046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til 03/2015: 	   	Eugen Teodorovici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3/2015 – 12/2015:	Marius Nica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2/2015 – 04/2016: 	Aura Raducu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4/2016 – 10/2016:	Cristian Ghinea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/2016 – 12/2016:	Dragos Dinu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2/2016 – 02/2017: 	Mihaela Toader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2/2017 – 10/2017: 	Rovana Plumb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/2017 – 01/2018: 	Marius Nica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AT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1/2018 - ?:		Rovana Plumb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D97E915-649E-4B67-B151-51C261AA6948}"/>
              </a:ext>
            </a:extLst>
          </p:cNvPr>
          <p:cNvSpPr txBox="1">
            <a:spLocks/>
          </p:cNvSpPr>
          <p:nvPr/>
        </p:nvSpPr>
        <p:spPr>
          <a:xfrm>
            <a:off x="452437" y="775894"/>
            <a:ext cx="7570686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52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AT" sz="28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nisters for EU-Funds in the past three year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422506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110342" y="1977084"/>
            <a:ext cx="8136295" cy="4385816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Lack of political will</a:t>
            </a:r>
            <a:r>
              <a:rPr lang="en-US" altLang="de-DE" sz="2000" b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de-DE" altLang="de-DE" sz="2000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Instability;</a:t>
            </a:r>
            <a:endParaRPr lang="de-AT" altLang="de-DE" sz="2000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Conflicts between authoritie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Legislative changes that obstruct EU-funded project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Needlessly complicated procedure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de-AT" altLang="de-DE" sz="2000" b="0">
                <a:solidFill>
                  <a:schemeClr val="tx1"/>
                </a:solidFill>
                <a:cs typeface="Estrangelo Edessa" pitchFamily="66" charset="0"/>
              </a:rPr>
              <a:t>Technical resasons, such as: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MySMI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Management Authoritie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US" altLang="de-DE" sz="1800">
                <a:solidFill>
                  <a:schemeClr val="tx1"/>
                </a:solidFill>
                <a:cs typeface="Estrangelo Edessa" pitchFamily="66" charset="0"/>
              </a:rPr>
              <a:t> Ex-ante conditions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GB" altLang="de-DE" sz="1800">
                <a:solidFill>
                  <a:schemeClr val="tx1"/>
                </a:solidFill>
                <a:cs typeface="Estrangelo Edessa" pitchFamily="66" charset="0"/>
              </a:rPr>
              <a:t> Reallocation;</a:t>
            </a:r>
          </a:p>
          <a:p>
            <a:pPr marL="628650" lvl="1" algn="just">
              <a:spcBef>
                <a:spcPts val="0"/>
              </a:spcBef>
              <a:spcAft>
                <a:spcPts val="600"/>
              </a:spcAft>
              <a:buClr>
                <a:srgbClr val="005233"/>
              </a:buClr>
            </a:pPr>
            <a:r>
              <a:rPr lang="en-GB" altLang="de-DE" sz="1800" b="0">
                <a:solidFill>
                  <a:schemeClr val="tx1"/>
                </a:solidFill>
                <a:cs typeface="Estrangelo Edessa" pitchFamily="66" charset="0"/>
              </a:rPr>
              <a:t> etc.</a:t>
            </a:r>
            <a:endParaRPr lang="ro-RO" altLang="de-DE" sz="1800" b="0" dirty="0">
              <a:solidFill>
                <a:schemeClr val="tx1"/>
              </a:solidFill>
              <a:cs typeface="Estrangelo Edessa" pitchFamily="66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Main reason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740261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Objekt 1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6" name="Objekt 1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155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4124" r="84" b="99"/>
          <a:stretch/>
        </p:blipFill>
        <p:spPr bwMode="auto">
          <a:xfrm>
            <a:off x="1045369" y="2147978"/>
            <a:ext cx="8408193" cy="4000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PA Group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AT" altLang="en-US" dirty="0"/>
              <a:t>Page </a:t>
            </a:r>
            <a:fld id="{CACAB311-598B-4EE9-AE31-E17D1BDF9BFA}" type="slidenum">
              <a:rPr lang="de-AT" altLang="en-US" smtClean="0"/>
              <a:pPr/>
              <a:t>6</a:t>
            </a:fld>
            <a:endParaRPr lang="de-AT" altLang="en-US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52438" y="1493915"/>
            <a:ext cx="9001125" cy="469359"/>
          </a:xfrm>
        </p:spPr>
        <p:txBody>
          <a:bodyPr>
            <a:normAutofit/>
          </a:bodyPr>
          <a:lstStyle/>
          <a:p>
            <a:r>
              <a:rPr lang="en-US" dirty="0"/>
              <a:t>We are one of the leading experts in tax advisory, accounting, audit and advisory </a:t>
            </a:r>
          </a:p>
          <a:p>
            <a:r>
              <a:rPr lang="en-US" dirty="0"/>
              <a:t>in Central and South Eastern Europe.</a:t>
            </a:r>
            <a:endParaRPr lang="en-GB" dirty="0"/>
          </a:p>
        </p:txBody>
      </p:sp>
      <p:sp>
        <p:nvSpPr>
          <p:cNvPr id="141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943092" y="295018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P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2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531295" y="3423409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CZ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3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10426" y="3575137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K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4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68149" y="3816033"/>
            <a:ext cx="147476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T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5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52909" y="3883020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U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6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76629" y="4119536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7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714625" y="4164555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R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8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813008" y="4019725"/>
            <a:ext cx="17312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O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9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4625" y="4369085"/>
            <a:ext cx="160300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S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0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948301" y="4582334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BG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7263" y="500209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 rot="2763076">
            <a:off x="6216015" y="3677866"/>
            <a:ext cx="341553" cy="45719"/>
          </a:xfrm>
          <a:prstGeom prst="rect">
            <a:avLst/>
          </a:prstGeom>
          <a:solidFill>
            <a:srgbClr val="AEAE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de-AT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180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452438" y="1493915"/>
            <a:ext cx="9001125" cy="1508105"/>
          </a:xfrm>
        </p:spPr>
        <p:txBody>
          <a:bodyPr>
            <a:normAutofit/>
          </a:bodyPr>
          <a:lstStyle/>
          <a:p>
            <a:r>
              <a:rPr lang="en-US" dirty="0"/>
              <a:t>The TPA Group is one of the leading companies in CEE/SEE offering tax advisory &amp; auditing services</a:t>
            </a:r>
            <a:r>
              <a:rPr lang="en-US"/>
              <a:t>: </a:t>
            </a:r>
            <a:br>
              <a:rPr lang="en-US"/>
            </a:br>
            <a:r>
              <a:rPr lang="en-US"/>
              <a:t>tax </a:t>
            </a:r>
            <a:r>
              <a:rPr lang="en-US" dirty="0"/>
              <a:t>advisory, accounting, auditing and advisory.</a:t>
            </a:r>
            <a:br>
              <a:rPr lang="en-US" dirty="0"/>
            </a:br>
            <a:endParaRPr lang="en-US" dirty="0"/>
          </a:p>
          <a:p>
            <a:r>
              <a:rPr lang="en-US" dirty="0">
                <a:latin typeface="Arial" panose="020B0604020202020204" pitchFamily="34" charset="0"/>
              </a:rPr>
              <a:t>In the efficient cross-border consulting of multinational companies the strength of the TPA Group in the typical target markets in Central and South East Europe is unique, exceptional and convincing. </a:t>
            </a:r>
          </a:p>
          <a:p>
            <a:endParaRPr lang="en-US" sz="1600" dirty="0"/>
          </a:p>
        </p:txBody>
      </p:sp>
      <p:sp>
        <p:nvSpPr>
          <p:cNvPr id="17" name="Foliennummernplatzhalter 6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de-DE" sz="800" kern="100" dirty="0">
                <a:solidFill>
                  <a:srgbClr val="58585A"/>
                </a:solidFill>
              </a:rPr>
              <a:t>Page </a:t>
            </a:r>
            <a:fld id="{E2BCF22A-5E8C-4B2F-8CEC-D31B789CDA14}" type="slidenum">
              <a:rPr lang="de-DE" sz="800" kern="100">
                <a:solidFill>
                  <a:srgbClr val="58585A"/>
                </a:solidFill>
              </a:rPr>
              <a:pPr algn="r"/>
              <a:t>7</a:t>
            </a:fld>
            <a:endParaRPr lang="de-DE" sz="800" kern="100" dirty="0">
              <a:solidFill>
                <a:srgbClr val="58585A"/>
              </a:solidFill>
            </a:endParaRPr>
          </a:p>
        </p:txBody>
      </p:sp>
      <p:sp>
        <p:nvSpPr>
          <p:cNvPr id="44" name="Titel 1"/>
          <p:cNvSpPr txBox="1">
            <a:spLocks/>
          </p:cNvSpPr>
          <p:nvPr/>
        </p:nvSpPr>
        <p:spPr>
          <a:xfrm>
            <a:off x="452437" y="775894"/>
            <a:ext cx="724259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AEEC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5233"/>
                </a:solidFill>
              </a:rPr>
              <a:t>For us, providing advice means finding perfect solutions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9" r="12150"/>
          <a:stretch/>
        </p:blipFill>
        <p:spPr>
          <a:xfrm>
            <a:off x="444510" y="3649167"/>
            <a:ext cx="2144960" cy="1851288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24" r="1585"/>
          <a:stretch/>
        </p:blipFill>
        <p:spPr>
          <a:xfrm>
            <a:off x="2732748" y="3649166"/>
            <a:ext cx="2143800" cy="184993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1" r="8978"/>
          <a:stretch/>
        </p:blipFill>
        <p:spPr>
          <a:xfrm>
            <a:off x="5020987" y="3649167"/>
            <a:ext cx="2143800" cy="1849936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9" b="3817"/>
          <a:stretch/>
        </p:blipFill>
        <p:spPr>
          <a:xfrm>
            <a:off x="7309225" y="3649167"/>
            <a:ext cx="2144337" cy="185040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444509" y="5191790"/>
            <a:ext cx="2143799" cy="3077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44000" rIns="144000">
            <a:spAutoFit/>
          </a:bodyPr>
          <a:lstStyle/>
          <a:p>
            <a:r>
              <a:rPr lang="en-US" sz="1400" b="1" dirty="0">
                <a:solidFill>
                  <a:srgbClr val="005233"/>
                </a:solidFill>
                <a:sym typeface="Webdings" pitchFamily="18" charset="2"/>
              </a:rPr>
              <a:t>TAX ADVISORY</a:t>
            </a:r>
            <a:endParaRPr lang="de-DE" sz="1400" b="1" dirty="0">
              <a:solidFill>
                <a:srgbClr val="005233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732748" y="5191790"/>
            <a:ext cx="2143800" cy="3077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44000" rIns="144000">
            <a:spAutoFit/>
          </a:bodyPr>
          <a:lstStyle/>
          <a:p>
            <a:r>
              <a:rPr lang="en-US" sz="1400" b="1" dirty="0">
                <a:solidFill>
                  <a:srgbClr val="005233"/>
                </a:solidFill>
                <a:sym typeface="Webdings" pitchFamily="18" charset="2"/>
              </a:rPr>
              <a:t>ACCOUNTING</a:t>
            </a:r>
            <a:endParaRPr lang="de-DE" sz="1400" b="1" dirty="0">
              <a:solidFill>
                <a:srgbClr val="005233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5020987" y="5191790"/>
            <a:ext cx="2143800" cy="3077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44000" rIns="144000">
            <a:spAutoFit/>
          </a:bodyPr>
          <a:lstStyle/>
          <a:p>
            <a:r>
              <a:rPr lang="en-US" sz="1400" b="1" dirty="0">
                <a:solidFill>
                  <a:srgbClr val="005233"/>
                </a:solidFill>
                <a:sym typeface="Webdings" pitchFamily="18" charset="2"/>
              </a:rPr>
              <a:t>AUDIT</a:t>
            </a:r>
            <a:endParaRPr lang="de-DE" sz="1400" b="1" dirty="0">
              <a:solidFill>
                <a:srgbClr val="005233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7309225" y="5191790"/>
            <a:ext cx="2144337" cy="3077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44000" rIns="144000">
            <a:spAutoFit/>
          </a:bodyPr>
          <a:lstStyle/>
          <a:p>
            <a:r>
              <a:rPr lang="en-US" sz="1400" b="1" dirty="0">
                <a:solidFill>
                  <a:srgbClr val="005233"/>
                </a:solidFill>
                <a:sym typeface="Webdings" pitchFamily="18" charset="2"/>
              </a:rPr>
              <a:t>ADVISORY</a:t>
            </a:r>
            <a:endParaRPr lang="de-DE" sz="1400" b="1" dirty="0">
              <a:solidFill>
                <a:srgbClr val="0052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027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/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00" y="1692000"/>
            <a:ext cx="1270800" cy="1270800"/>
          </a:xfrm>
        </p:spPr>
      </p:pic>
      <p:sp>
        <p:nvSpPr>
          <p:cNvPr id="3" name="Foliennummernplatzhalt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9"/>
          </p:nvPr>
        </p:nvSpPr>
        <p:spPr>
          <a:xfrm>
            <a:off x="446400" y="3128293"/>
            <a:ext cx="2666077" cy="215444"/>
          </a:xfrm>
        </p:spPr>
        <p:txBody>
          <a:bodyPr/>
          <a:lstStyle/>
          <a:p>
            <a:r>
              <a:rPr lang="ro-RO" dirty="0"/>
              <a:t>Johannes Becker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GB" dirty="0"/>
              <a:t>Partner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ro-RO" dirty="0"/>
              <a:t>johannes</a:t>
            </a:r>
            <a:r>
              <a:rPr lang="en-GB" dirty="0"/>
              <a:t>.</a:t>
            </a:r>
            <a:r>
              <a:rPr lang="ro-RO" dirty="0"/>
              <a:t>becker</a:t>
            </a:r>
            <a:r>
              <a:rPr lang="en-GB" dirty="0"/>
              <a:t>@tpa-group.ro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7"/>
          </p:nvPr>
        </p:nvSpPr>
        <p:spPr>
          <a:xfrm>
            <a:off x="3503847" y="1698711"/>
            <a:ext cx="4335083" cy="6832640"/>
          </a:xfrm>
        </p:spPr>
        <p:txBody>
          <a:bodyPr/>
          <a:lstStyle/>
          <a:p>
            <a:r>
              <a:rPr lang="en-US" dirty="0"/>
              <a:t>Member of the Coalition for the Development of Romania </a:t>
            </a:r>
          </a:p>
          <a:p>
            <a:r>
              <a:rPr lang="en-US" dirty="0"/>
              <a:t>Member of National Association of Consulting Companies (AMCOR) </a:t>
            </a:r>
          </a:p>
          <a:p>
            <a:r>
              <a:rPr lang="en-US" dirty="0"/>
              <a:t>Member of the German Romanian Chamber of Commerce (AHK) </a:t>
            </a:r>
          </a:p>
          <a:p>
            <a:r>
              <a:rPr lang="en-US" dirty="0"/>
              <a:t>Business Consultant </a:t>
            </a:r>
          </a:p>
          <a:p>
            <a:r>
              <a:rPr lang="en-US" dirty="0"/>
              <a:t>Specialist for EU - and national grants </a:t>
            </a:r>
          </a:p>
          <a:p>
            <a:r>
              <a:rPr lang="en-US" dirty="0"/>
              <a:t>Strategic Development </a:t>
            </a:r>
          </a:p>
          <a:p>
            <a:r>
              <a:rPr lang="en-GB" dirty="0">
                <a:cs typeface="Arial" charset="0"/>
              </a:rPr>
              <a:t>Services and Areas of Expertise:</a:t>
            </a:r>
            <a:endParaRPr lang="en-US" dirty="0"/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Metal &amp; Wood Processing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Textiles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Automotive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Agriculture &amp; Forestry, Wine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Food Processing      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Alternative Energy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Pharma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Waste Industry, Construction Materials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Cultural Projects, Social Projects, NGOs </a:t>
            </a:r>
          </a:p>
          <a:p>
            <a:pPr marL="361950" lvl="1" indent="-180975">
              <a:buClr>
                <a:srgbClr val="9FA1A4"/>
              </a:buClr>
            </a:pPr>
            <a:r>
              <a:rPr lang="en-US" dirty="0"/>
              <a:t>Public Administration, Media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into contact with TPA: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24" name="Textplatzhalter 21"/>
          <p:cNvSpPr txBox="1">
            <a:spLocks/>
          </p:cNvSpPr>
          <p:nvPr/>
        </p:nvSpPr>
        <p:spPr>
          <a:xfrm>
            <a:off x="7460719" y="3855106"/>
            <a:ext cx="153987" cy="138113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SK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5" name="Textplatzhalter 21"/>
          <p:cNvSpPr txBox="1">
            <a:spLocks/>
          </p:cNvSpPr>
          <p:nvPr/>
        </p:nvSpPr>
        <p:spPr>
          <a:xfrm>
            <a:off x="6703213" y="4171046"/>
            <a:ext cx="14763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AT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6" name="Textplatzhalter 21"/>
          <p:cNvSpPr txBox="1">
            <a:spLocks/>
          </p:cNvSpPr>
          <p:nvPr/>
        </p:nvSpPr>
        <p:spPr>
          <a:xfrm>
            <a:off x="7460719" y="4302124"/>
            <a:ext cx="1666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HU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7" name="Textplatzhalter 21"/>
          <p:cNvSpPr txBox="1">
            <a:spLocks/>
          </p:cNvSpPr>
          <p:nvPr/>
        </p:nvSpPr>
        <p:spPr>
          <a:xfrm>
            <a:off x="6710762" y="4574112"/>
            <a:ext cx="1412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SL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8" name="Textplatzhalter 21"/>
          <p:cNvSpPr txBox="1">
            <a:spLocks/>
          </p:cNvSpPr>
          <p:nvPr/>
        </p:nvSpPr>
        <p:spPr>
          <a:xfrm>
            <a:off x="7010496" y="4640906"/>
            <a:ext cx="16668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HR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9" name="Textplatzhalter 21"/>
          <p:cNvSpPr txBox="1">
            <a:spLocks/>
          </p:cNvSpPr>
          <p:nvPr/>
        </p:nvSpPr>
        <p:spPr>
          <a:xfrm>
            <a:off x="8489935" y="4445502"/>
            <a:ext cx="17303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RO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0" name="Textplatzhalter 21"/>
          <p:cNvSpPr txBox="1">
            <a:spLocks/>
          </p:cNvSpPr>
          <p:nvPr/>
        </p:nvSpPr>
        <p:spPr>
          <a:xfrm>
            <a:off x="7838930" y="4956168"/>
            <a:ext cx="16033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RS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1" name="Textplatzhalter 21"/>
          <p:cNvSpPr txBox="1">
            <a:spLocks/>
          </p:cNvSpPr>
          <p:nvPr/>
        </p:nvSpPr>
        <p:spPr>
          <a:xfrm>
            <a:off x="8622357" y="5231474"/>
            <a:ext cx="16668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BG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2" name="Textplatzhalter 21"/>
          <p:cNvSpPr txBox="1">
            <a:spLocks/>
          </p:cNvSpPr>
          <p:nvPr/>
        </p:nvSpPr>
        <p:spPr>
          <a:xfrm>
            <a:off x="7803626" y="5771067"/>
            <a:ext cx="1412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AL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3" name="Textplatzhalter 21"/>
          <p:cNvSpPr txBox="1">
            <a:spLocks/>
          </p:cNvSpPr>
          <p:nvPr/>
        </p:nvSpPr>
        <p:spPr>
          <a:xfrm>
            <a:off x="6710811" y="3663817"/>
            <a:ext cx="153888" cy="138499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CZ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4" name="Textplatzhalter 21"/>
          <p:cNvSpPr txBox="1">
            <a:spLocks/>
          </p:cNvSpPr>
          <p:nvPr/>
        </p:nvSpPr>
        <p:spPr>
          <a:xfrm>
            <a:off x="7356323" y="3073446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PL</a:t>
            </a:r>
            <a:endParaRPr lang="en-GB" sz="900" dirty="0">
              <a:solidFill>
                <a:schemeClr val="bg1"/>
              </a:solidFill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6040986" y="2785436"/>
            <a:ext cx="3595888" cy="3695224"/>
            <a:chOff x="-6557936" y="2889558"/>
            <a:chExt cx="2707995" cy="2782803"/>
          </a:xfrm>
          <a:solidFill>
            <a:srgbClr val="B0B1B3"/>
          </a:solidFill>
        </p:grpSpPr>
        <p:sp>
          <p:nvSpPr>
            <p:cNvPr id="36" name="Ungarn" descr="© INSCALE GmbH, 05.05.2010&#10;http://www.presentationload.com/"/>
            <p:cNvSpPr>
              <a:spLocks/>
            </p:cNvSpPr>
            <p:nvPr/>
          </p:nvSpPr>
          <p:spPr bwMode="auto">
            <a:xfrm>
              <a:off x="-5688044" y="4000969"/>
              <a:ext cx="861343" cy="574941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Tschechien" descr="© INSCALE GmbH, 05.05.2010&#10;http://www.presentationload.com/"/>
            <p:cNvSpPr>
              <a:spLocks/>
            </p:cNvSpPr>
            <p:nvPr/>
          </p:nvSpPr>
          <p:spPr bwMode="auto">
            <a:xfrm>
              <a:off x="-6224513" y="3605564"/>
              <a:ext cx="846382" cy="478762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solidFill>
              <a:srgbClr val="B0B1B3"/>
            </a:solidFill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Slowenien" descr="© INSCALE GmbH, 05.05.2010&#10;http://www.presentationload.com/"/>
            <p:cNvSpPr>
              <a:spLocks/>
            </p:cNvSpPr>
            <p:nvPr/>
          </p:nvSpPr>
          <p:spPr bwMode="auto">
            <a:xfrm>
              <a:off x="-6042841" y="4379277"/>
              <a:ext cx="414642" cy="292813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Slowakei" descr="© INSCALE GmbH, 05.05.2010&#10;http://www.presentationload.com/"/>
            <p:cNvSpPr>
              <a:spLocks/>
            </p:cNvSpPr>
            <p:nvPr/>
          </p:nvSpPr>
          <p:spPr bwMode="auto">
            <a:xfrm>
              <a:off x="-5615375" y="3834258"/>
              <a:ext cx="705319" cy="374032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Serbien" descr="© INSCALE GmbH, 05.05.2010&#10;http://www.presentationload.com/"/>
            <p:cNvSpPr>
              <a:spLocks/>
            </p:cNvSpPr>
            <p:nvPr/>
          </p:nvSpPr>
          <p:spPr bwMode="auto">
            <a:xfrm>
              <a:off x="-5311874" y="4464771"/>
              <a:ext cx="624100" cy="706888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Rumänien" descr="© INSCALE GmbH, 05.05.2010&#10;http://www.presentationload.com/"/>
            <p:cNvSpPr>
              <a:spLocks noEditPoints="1"/>
            </p:cNvSpPr>
            <p:nvPr/>
          </p:nvSpPr>
          <p:spPr bwMode="auto">
            <a:xfrm>
              <a:off x="-5136613" y="3941124"/>
              <a:ext cx="1286672" cy="914777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solidFill>
              <a:srgbClr val="005233"/>
            </a:solidFill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Polen" descr="© INSCALE GmbH, 05.05.2010&#10;http://www.presentationload.com/"/>
            <p:cNvSpPr>
              <a:spLocks/>
            </p:cNvSpPr>
            <p:nvPr/>
          </p:nvSpPr>
          <p:spPr bwMode="auto">
            <a:xfrm>
              <a:off x="-6002231" y="2889558"/>
              <a:ext cx="1235376" cy="1019505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Österreich" descr="© INSCALE GmbH, 05.05.2010&#10;http://www.presentationload.com/"/>
            <p:cNvSpPr>
              <a:spLocks/>
            </p:cNvSpPr>
            <p:nvPr/>
          </p:nvSpPr>
          <p:spPr bwMode="auto">
            <a:xfrm>
              <a:off x="-6557936" y="3996695"/>
              <a:ext cx="985308" cy="489448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solidFill>
              <a:srgbClr val="B0B1B3"/>
            </a:solidFill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Kroatien" descr="© INSCALE GmbH, 05.05.2010&#10;http://www.presentationload.com/"/>
            <p:cNvSpPr>
              <a:spLocks noEditPoints="1"/>
            </p:cNvSpPr>
            <p:nvPr/>
          </p:nvSpPr>
          <p:spPr bwMode="auto">
            <a:xfrm>
              <a:off x="-6030017" y="4443397"/>
              <a:ext cx="803636" cy="737378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Bulgarien" descr="© INSCALE GmbH, 05.05.2010&#10;http://www.presentationload.com/"/>
            <p:cNvSpPr>
              <a:spLocks/>
            </p:cNvSpPr>
            <p:nvPr/>
          </p:nvSpPr>
          <p:spPr bwMode="auto">
            <a:xfrm>
              <a:off x="-4794641" y="4684915"/>
              <a:ext cx="861343" cy="626237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grpFill/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Albanien" descr="© INSCALE GmbH, 05.05.2010&#10;http://www.presentationload.com/"/>
            <p:cNvSpPr>
              <a:spLocks/>
            </p:cNvSpPr>
            <p:nvPr/>
          </p:nvSpPr>
          <p:spPr bwMode="auto">
            <a:xfrm>
              <a:off x="-5185771" y="5123068"/>
              <a:ext cx="288539" cy="549293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rgbClr val="B0B1B3"/>
            </a:solidFill>
            <a:ln w="3175" algn="ctr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vert="horz" wrap="none" lIns="90000" tIns="90000" rIns="72000" bIns="9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800" kern="0" noProof="1">
                <a:solidFill>
                  <a:prstClr val="white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47" name="Textplatzhalter 21"/>
          <p:cNvSpPr txBox="1">
            <a:spLocks/>
          </p:cNvSpPr>
          <p:nvPr/>
        </p:nvSpPr>
        <p:spPr>
          <a:xfrm>
            <a:off x="7642442" y="4192198"/>
            <a:ext cx="153987" cy="138113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SK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48" name="Textplatzhalter 21"/>
          <p:cNvSpPr txBox="1">
            <a:spLocks/>
          </p:cNvSpPr>
          <p:nvPr/>
        </p:nvSpPr>
        <p:spPr>
          <a:xfrm>
            <a:off x="6884936" y="4508138"/>
            <a:ext cx="14763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AT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49" name="Textplatzhalter 21"/>
          <p:cNvSpPr txBox="1">
            <a:spLocks/>
          </p:cNvSpPr>
          <p:nvPr/>
        </p:nvSpPr>
        <p:spPr>
          <a:xfrm>
            <a:off x="7642442" y="4639216"/>
            <a:ext cx="1666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HU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0" name="Textplatzhalter 21"/>
          <p:cNvSpPr txBox="1">
            <a:spLocks/>
          </p:cNvSpPr>
          <p:nvPr/>
        </p:nvSpPr>
        <p:spPr>
          <a:xfrm>
            <a:off x="6892485" y="4911204"/>
            <a:ext cx="1412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SL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1" name="Textplatzhalter 21"/>
          <p:cNvSpPr txBox="1">
            <a:spLocks/>
          </p:cNvSpPr>
          <p:nvPr/>
        </p:nvSpPr>
        <p:spPr>
          <a:xfrm>
            <a:off x="7192219" y="4977998"/>
            <a:ext cx="16668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HR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2" name="Textplatzhalter 21"/>
          <p:cNvSpPr txBox="1">
            <a:spLocks/>
          </p:cNvSpPr>
          <p:nvPr/>
        </p:nvSpPr>
        <p:spPr>
          <a:xfrm>
            <a:off x="8671658" y="4782594"/>
            <a:ext cx="17303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RO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3" name="Textplatzhalter 21"/>
          <p:cNvSpPr txBox="1">
            <a:spLocks/>
          </p:cNvSpPr>
          <p:nvPr/>
        </p:nvSpPr>
        <p:spPr>
          <a:xfrm>
            <a:off x="8020653" y="5293260"/>
            <a:ext cx="16033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RS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4" name="Textplatzhalter 21"/>
          <p:cNvSpPr txBox="1">
            <a:spLocks/>
          </p:cNvSpPr>
          <p:nvPr/>
        </p:nvSpPr>
        <p:spPr>
          <a:xfrm>
            <a:off x="8804080" y="5568566"/>
            <a:ext cx="166687" cy="1397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BG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5" name="Textplatzhalter 21"/>
          <p:cNvSpPr txBox="1">
            <a:spLocks/>
          </p:cNvSpPr>
          <p:nvPr/>
        </p:nvSpPr>
        <p:spPr>
          <a:xfrm>
            <a:off x="7985349" y="6108159"/>
            <a:ext cx="141287" cy="138112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AL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6" name="Textplatzhalter 21"/>
          <p:cNvSpPr txBox="1">
            <a:spLocks/>
          </p:cNvSpPr>
          <p:nvPr/>
        </p:nvSpPr>
        <p:spPr>
          <a:xfrm>
            <a:off x="6892534" y="4000909"/>
            <a:ext cx="153888" cy="138499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CZ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7" name="Textplatzhalter 21"/>
          <p:cNvSpPr txBox="1">
            <a:spLocks/>
          </p:cNvSpPr>
          <p:nvPr/>
        </p:nvSpPr>
        <p:spPr>
          <a:xfrm>
            <a:off x="7538046" y="3410538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lvl1pPr marL="207963" indent="-2079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Webdings" panose="05030102010509060703" pitchFamily="18" charset="2"/>
              <a:buChar char="&lt;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7188" indent="-149225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SzPct val="100000"/>
              <a:buFont typeface="Symbol" panose="05050102010706020507" pitchFamily="18" charset="2"/>
              <a:buChar char="·"/>
              <a:defRPr lang="en-US" sz="14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Georgia" panose="02040502050405020303" pitchFamily="18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914400" rtl="0" eaLnBrk="1" latinLnBrk="0" hangingPunct="1">
              <a:spcBef>
                <a:spcPts val="300"/>
              </a:spcBef>
              <a:buClr>
                <a:srgbClr val="878787"/>
              </a:buClr>
              <a:buFont typeface="Courier New" panose="02070309020205020404" pitchFamily="49" charset="0"/>
              <a:buChar char="-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20796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Verdana" panose="020B0604030504040204" pitchFamily="34" charset="0"/>
              <a:buChar char="−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39788" indent="-12541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ebdings" panose="05030102010509060703" pitchFamily="18" charset="2"/>
              <a:buNone/>
            </a:pPr>
            <a:r>
              <a:rPr lang="en-US" sz="900">
                <a:solidFill>
                  <a:schemeClr val="bg1"/>
                </a:solidFill>
              </a:rPr>
              <a:t>PL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24239" y="4197753"/>
            <a:ext cx="24796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878787"/>
              </a:buClr>
            </a:pPr>
            <a:r>
              <a:rPr lang="de-AT" sz="1200" dirty="0"/>
              <a:t>Tel. +40 21 310 06 69</a:t>
            </a:r>
          </a:p>
        </p:txBody>
      </p:sp>
      <p:sp>
        <p:nvSpPr>
          <p:cNvPr id="59" name="Textplatzhalter 6"/>
          <p:cNvSpPr>
            <a:spLocks noGrp="1"/>
          </p:cNvSpPr>
          <p:nvPr>
            <p:ph type="body" sz="quarter" idx="34"/>
          </p:nvPr>
        </p:nvSpPr>
        <p:spPr>
          <a:xfrm>
            <a:off x="424239" y="4660575"/>
            <a:ext cx="3357875" cy="184666"/>
          </a:xfrm>
        </p:spPr>
        <p:txBody>
          <a:bodyPr/>
          <a:lstStyle/>
          <a:p>
            <a:r>
              <a:rPr lang="de-AT" dirty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www.</a:t>
            </a:r>
            <a:r>
              <a:rPr lang="en-GB" dirty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tpa-group.ro</a:t>
            </a:r>
            <a:endParaRPr lang="en-GB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30213" y="4911204"/>
            <a:ext cx="27459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878787"/>
              </a:buClr>
            </a:pPr>
            <a:r>
              <a:rPr lang="de-AT" sz="1200" dirty="0"/>
              <a:t>Str. Grigore Cobalcescu 46</a:t>
            </a:r>
          </a:p>
          <a:p>
            <a:pPr>
              <a:buClr>
                <a:srgbClr val="878787"/>
              </a:buClr>
            </a:pPr>
            <a:r>
              <a:rPr lang="de-AT" sz="1200" dirty="0"/>
              <a:t>010196 Bucuresti</a:t>
            </a:r>
          </a:p>
        </p:txBody>
      </p:sp>
    </p:spTree>
    <p:extLst>
      <p:ext uri="{BB962C8B-B14F-4D97-AF65-F5344CB8AC3E}">
        <p14:creationId xmlns:p14="http://schemas.microsoft.com/office/powerpoint/2010/main" val="928403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3c&quot; g=&quot;64&quot; b=&quot;7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PA Horwath">
  <a:themeElements>
    <a:clrScheme name="Benutzerdefiniert 23">
      <a:dk1>
        <a:srgbClr val="000000"/>
      </a:dk1>
      <a:lt1>
        <a:srgbClr val="FFFFFF"/>
      </a:lt1>
      <a:dk2>
        <a:srgbClr val="002138"/>
      </a:dk2>
      <a:lt2>
        <a:srgbClr val="00AEEC"/>
      </a:lt2>
      <a:accent1>
        <a:srgbClr val="75787C"/>
      </a:accent1>
      <a:accent2>
        <a:srgbClr val="75787C"/>
      </a:accent2>
      <a:accent3>
        <a:srgbClr val="75787C"/>
      </a:accent3>
      <a:accent4>
        <a:srgbClr val="4E5052"/>
      </a:accent4>
      <a:accent5>
        <a:srgbClr val="D82231"/>
      </a:accent5>
      <a:accent6>
        <a:srgbClr val="79B93E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2"/>
          </a:solidFill>
        </a:ln>
      </a:spPr>
      <a:bodyPr lIns="108000" rIns="108000" rtlCol="0" anchor="ctr"/>
      <a:lstStyle>
        <a:defPPr algn="ctr">
          <a:defRPr sz="14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285750" indent="-285750">
          <a:buClr>
            <a:srgbClr val="878787"/>
          </a:buClr>
          <a:buFont typeface="Webdings" panose="05030102010509060703" pitchFamily="18" charset="2"/>
          <a:buChar char=""/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1</Words>
  <Application>Microsoft Office PowerPoint</Application>
  <PresentationFormat>A4 Paper (210x297 mm)</PresentationFormat>
  <Paragraphs>13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ourier New</vt:lpstr>
      <vt:lpstr>Estrangelo Edessa</vt:lpstr>
      <vt:lpstr>Georgia</vt:lpstr>
      <vt:lpstr>Symbol</vt:lpstr>
      <vt:lpstr>Verdana</vt:lpstr>
      <vt:lpstr>Webdings</vt:lpstr>
      <vt:lpstr>Wingdings</vt:lpstr>
      <vt:lpstr>TPA Horwath</vt:lpstr>
      <vt:lpstr>think-cell Folie</vt:lpstr>
      <vt:lpstr>Main Impediments for a Successful Absorption of EU-Funds </vt:lpstr>
      <vt:lpstr>Situation today</vt:lpstr>
      <vt:lpstr>Main reasons</vt:lpstr>
      <vt:lpstr>PowerPoint Presentation</vt:lpstr>
      <vt:lpstr>Main reasons</vt:lpstr>
      <vt:lpstr>The TPA Group</vt:lpstr>
      <vt:lpstr>PowerPoint Presentation</vt:lpstr>
      <vt:lpstr>Get into contact with TPA: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Hager</dc:creator>
  <cp:lastModifiedBy>Johannes Becker</cp:lastModifiedBy>
  <cp:revision>774</cp:revision>
  <cp:lastPrinted>2016-08-29T10:19:21Z</cp:lastPrinted>
  <dcterms:created xsi:type="dcterms:W3CDTF">2015-07-20T10:01:28Z</dcterms:created>
  <dcterms:modified xsi:type="dcterms:W3CDTF">2018-06-11T05:52:52Z</dcterms:modified>
</cp:coreProperties>
</file>